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4" r:id="rId8"/>
    <p:sldId id="262" r:id="rId9"/>
    <p:sldId id="263" r:id="rId10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66" d="100"/>
          <a:sy n="66" d="100"/>
        </p:scale>
        <p:origin x="668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DEAB4-0659-478E-9F70-B974424578BF}" type="datetimeFigureOut">
              <a:rPr lang="en-US" smtClean="0"/>
              <a:t>6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5C0A-017D-48D3-80B9-07C81DAC3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115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DEAB4-0659-478E-9F70-B974424578BF}" type="datetimeFigureOut">
              <a:rPr lang="en-US" smtClean="0"/>
              <a:t>6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5C0A-017D-48D3-80B9-07C81DAC3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1091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DEAB4-0659-478E-9F70-B974424578BF}" type="datetimeFigureOut">
              <a:rPr lang="en-US" smtClean="0"/>
              <a:t>6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5C0A-017D-48D3-80B9-07C81DAC3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6414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DEAB4-0659-478E-9F70-B974424578BF}" type="datetimeFigureOut">
              <a:rPr lang="en-US" smtClean="0"/>
              <a:t>6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5C0A-017D-48D3-80B9-07C81DAC3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4166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DEAB4-0659-478E-9F70-B974424578BF}" type="datetimeFigureOut">
              <a:rPr lang="en-US" smtClean="0"/>
              <a:t>6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5C0A-017D-48D3-80B9-07C81DAC3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055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DEAB4-0659-478E-9F70-B974424578BF}" type="datetimeFigureOut">
              <a:rPr lang="en-US" smtClean="0"/>
              <a:t>6/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5C0A-017D-48D3-80B9-07C81DAC3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97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DEAB4-0659-478E-9F70-B974424578BF}" type="datetimeFigureOut">
              <a:rPr lang="en-US" smtClean="0"/>
              <a:t>6/8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5C0A-017D-48D3-80B9-07C81DAC3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1505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DEAB4-0659-478E-9F70-B974424578BF}" type="datetimeFigureOut">
              <a:rPr lang="en-US" smtClean="0"/>
              <a:t>6/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5C0A-017D-48D3-80B9-07C81DAC3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111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DEAB4-0659-478E-9F70-B974424578BF}" type="datetimeFigureOut">
              <a:rPr lang="en-US" smtClean="0"/>
              <a:t>6/8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5C0A-017D-48D3-80B9-07C81DAC3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0252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DEAB4-0659-478E-9F70-B974424578BF}" type="datetimeFigureOut">
              <a:rPr lang="en-US" smtClean="0"/>
              <a:t>6/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5C0A-017D-48D3-80B9-07C81DAC3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7466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DEAB4-0659-478E-9F70-B974424578BF}" type="datetimeFigureOut">
              <a:rPr lang="en-US" smtClean="0"/>
              <a:t>6/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5C0A-017D-48D3-80B9-07C81DAC3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639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42571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1DEAB4-0659-478E-9F70-B974424578BF}" type="datetimeFigureOut">
              <a:rPr lang="en-US" smtClean="0"/>
              <a:t>6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7B5C0A-017D-48D3-80B9-07C81DAC3B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361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microsoft.com/office/2007/relationships/hdphoto" Target="../media/hdphoto2.wdp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2670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01083" y="573040"/>
            <a:ext cx="7665234" cy="60072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7845" y="2920732"/>
            <a:ext cx="4461164" cy="2909598"/>
          </a:xfrm>
        </p:spPr>
        <p:txBody>
          <a:bodyPr vert="horz">
            <a:normAutofit/>
          </a:bodyPr>
          <a:lstStyle/>
          <a:p>
            <a:r>
              <a:rPr lang="en-US" sz="4800" b="1" dirty="0" smtClean="0">
                <a:latin typeface="Adobe Gothic Std B" panose="020B0800000000000000" pitchFamily="34" charset="-128"/>
                <a:ea typeface="Adobe Gothic Std B" panose="020B0800000000000000" pitchFamily="34" charset="-128"/>
              </a:rPr>
              <a:t>What would a perfect world look like</a:t>
            </a:r>
            <a:r>
              <a:rPr lang="en-US" sz="4800" b="1" dirty="0" smtClean="0"/>
              <a:t>? </a:t>
            </a:r>
            <a:endParaRPr lang="en-US" sz="4800" b="1" dirty="0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6247735" y="-2055093"/>
            <a:ext cx="6738591" cy="290959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800" b="1" dirty="0" smtClean="0">
                <a:latin typeface="Adobe Gothic Std B" panose="020B0800000000000000" pitchFamily="34" charset="-128"/>
                <a:ea typeface="Adobe Gothic Std B" panose="020B0800000000000000" pitchFamily="34" charset="-128"/>
              </a:rPr>
              <a:t>By Ivy Armitage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186440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5233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18413" y="3719629"/>
            <a:ext cx="8519119" cy="2909598"/>
          </a:xfrm>
        </p:spPr>
        <p:txBody>
          <a:bodyPr vert="horz">
            <a:normAutofit/>
          </a:bodyPr>
          <a:lstStyle/>
          <a:p>
            <a:r>
              <a:rPr lang="en-US" sz="4800" b="1" dirty="0" smtClean="0">
                <a:latin typeface="Adobe Gothic Std B" panose="020B0800000000000000" pitchFamily="34" charset="-128"/>
                <a:ea typeface="Adobe Gothic Std B" panose="020B0800000000000000" pitchFamily="34" charset="-128"/>
              </a:rPr>
              <a:t>A perfect world is the one God created.</a:t>
            </a:r>
            <a:endParaRPr lang="en-US" sz="4800" b="1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96647" y="673116"/>
            <a:ext cx="5962650" cy="399097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44702" y="5977015"/>
            <a:ext cx="832315" cy="652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768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265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4157" y="4235116"/>
            <a:ext cx="9307629" cy="2461488"/>
          </a:xfrm>
        </p:spPr>
        <p:txBody>
          <a:bodyPr vert="horz">
            <a:normAutofit/>
          </a:bodyPr>
          <a:lstStyle/>
          <a:p>
            <a:r>
              <a:rPr lang="en-US" sz="4800" b="1" dirty="0" smtClean="0">
                <a:latin typeface="Adobe Gothic Std B" panose="020B0800000000000000" pitchFamily="34" charset="-128"/>
                <a:ea typeface="Adobe Gothic Std B" panose="020B0800000000000000" pitchFamily="34" charset="-128"/>
              </a:rPr>
              <a:t>These are a few ideas I think we could do to make the world a better place..</a:t>
            </a:r>
            <a:endParaRPr lang="en-US" sz="4800" b="1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96646" y="244141"/>
            <a:ext cx="5962650" cy="399097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25587" y="6115542"/>
            <a:ext cx="829128" cy="6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56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3912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651" y="202130"/>
            <a:ext cx="9307629" cy="1017699"/>
          </a:xfrm>
        </p:spPr>
        <p:txBody>
          <a:bodyPr vert="horz">
            <a:normAutofit/>
          </a:bodyPr>
          <a:lstStyle/>
          <a:p>
            <a:r>
              <a:rPr lang="en-US" sz="4800" b="1" u="sng" dirty="0" smtClean="0">
                <a:solidFill>
                  <a:srgbClr val="FF33CC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Stop Deforestation!</a:t>
            </a:r>
            <a:endParaRPr lang="en-US" sz="4800" b="1" u="sng" dirty="0">
              <a:solidFill>
                <a:srgbClr val="FF33CC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354149" y="1519187"/>
            <a:ext cx="11167290" cy="312981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4800" b="1" dirty="0" smtClean="0">
                <a:solidFill>
                  <a:schemeClr val="accent6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Plant more trees to create homes for wildlife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4800" b="1" dirty="0" smtClean="0">
                <a:solidFill>
                  <a:srgbClr val="00B0F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This will help </a:t>
            </a:r>
            <a:r>
              <a:rPr lang="en-US" sz="4800" b="1" dirty="0">
                <a:solidFill>
                  <a:srgbClr val="00B0F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us to have cleaner air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35213" y="6077041"/>
            <a:ext cx="829128" cy="6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414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6980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651" y="202130"/>
            <a:ext cx="9307629" cy="1017699"/>
          </a:xfrm>
        </p:spPr>
        <p:txBody>
          <a:bodyPr vert="horz">
            <a:normAutofit/>
          </a:bodyPr>
          <a:lstStyle/>
          <a:p>
            <a:r>
              <a:rPr lang="en-US" sz="4800" b="1" u="sng" dirty="0" smtClean="0">
                <a:solidFill>
                  <a:srgbClr val="FF33CC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Everybody has a home</a:t>
            </a:r>
            <a:endParaRPr lang="en-US" sz="4800" b="1" u="sng" dirty="0">
              <a:solidFill>
                <a:srgbClr val="FF33CC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354149" y="1519187"/>
            <a:ext cx="11167290" cy="312981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4800" b="1" dirty="0" smtClean="0">
                <a:solidFill>
                  <a:schemeClr val="accent4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People would have equal amounts of money, no rich, no poor.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4800" b="1" dirty="0" smtClean="0">
                <a:solidFill>
                  <a:srgbClr val="FF000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Everyone could live and have food to eat</a:t>
            </a:r>
            <a:endParaRPr lang="en-US" sz="4800" b="1" dirty="0">
              <a:solidFill>
                <a:srgbClr val="FF0000"/>
              </a:solidFill>
              <a:latin typeface="Adobe Gothic Std B" panose="020B0800000000000000" pitchFamily="34" charset="-128"/>
              <a:ea typeface="Adobe Gothic Std B" panose="020B0800000000000000" pitchFamily="34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06875" y="5961538"/>
            <a:ext cx="829128" cy="6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592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227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13353" y="404260"/>
            <a:ext cx="7710217" cy="863695"/>
          </a:xfrm>
        </p:spPr>
        <p:txBody>
          <a:bodyPr vert="horz">
            <a:normAutofit/>
          </a:bodyPr>
          <a:lstStyle/>
          <a:p>
            <a:r>
              <a:rPr lang="en-US" sz="4800" b="1" u="sng" dirty="0" smtClean="0">
                <a:solidFill>
                  <a:srgbClr val="FF33CC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No fighting </a:t>
            </a:r>
            <a:endParaRPr lang="en-US" sz="4800" b="1" u="sng" dirty="0">
              <a:solidFill>
                <a:srgbClr val="FF33CC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4996" y="404260"/>
            <a:ext cx="3891044" cy="3895411"/>
          </a:xfrm>
          <a:prstGeom prst="rect">
            <a:avLst/>
          </a:prstGeom>
        </p:spPr>
      </p:pic>
      <p:sp>
        <p:nvSpPr>
          <p:cNvPr id="14" name="Title 1"/>
          <p:cNvSpPr txBox="1">
            <a:spLocks/>
          </p:cNvSpPr>
          <p:nvPr/>
        </p:nvSpPr>
        <p:spPr>
          <a:xfrm>
            <a:off x="4023358" y="1405287"/>
            <a:ext cx="7700212" cy="165554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4800" b="1" dirty="0" smtClean="0">
                <a:solidFill>
                  <a:srgbClr val="FF000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People would be kind and fair 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0834" y="5980789"/>
            <a:ext cx="829128" cy="6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33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516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71180" y="413885"/>
            <a:ext cx="7710217" cy="863695"/>
          </a:xfrm>
        </p:spPr>
        <p:txBody>
          <a:bodyPr vert="horz">
            <a:normAutofit/>
          </a:bodyPr>
          <a:lstStyle/>
          <a:p>
            <a:r>
              <a:rPr lang="en-US" sz="4800" b="1" u="sng" dirty="0" smtClean="0">
                <a:solidFill>
                  <a:srgbClr val="FF33CC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No pollution</a:t>
            </a:r>
            <a:endParaRPr lang="en-US" sz="4800" b="1" u="sng" dirty="0">
              <a:solidFill>
                <a:srgbClr val="FF33CC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340090" y="1306454"/>
            <a:ext cx="11165308" cy="239669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4800" b="1" dirty="0" smtClean="0">
                <a:solidFill>
                  <a:srgbClr val="7030A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Clean oceans to keep the animals safe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4800" b="1" dirty="0" smtClean="0">
                <a:solidFill>
                  <a:srgbClr val="7030A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Our world would look more beautiful without litter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90834" y="5980789"/>
            <a:ext cx="829128" cy="65232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6070" y="4025937"/>
            <a:ext cx="4366410" cy="250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709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519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429" y="346509"/>
            <a:ext cx="7710217" cy="863695"/>
          </a:xfrm>
        </p:spPr>
        <p:txBody>
          <a:bodyPr vert="horz">
            <a:normAutofit fontScale="90000"/>
          </a:bodyPr>
          <a:lstStyle/>
          <a:p>
            <a:r>
              <a:rPr lang="en-US" sz="4800" b="1" u="sng" dirty="0" smtClean="0">
                <a:solidFill>
                  <a:srgbClr val="FF33CC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Everybody would be healthy</a:t>
            </a:r>
            <a:endParaRPr lang="en-US" sz="4800" b="1" u="sng" dirty="0">
              <a:solidFill>
                <a:srgbClr val="FF33CC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933651" y="1366787"/>
            <a:ext cx="10337531" cy="24351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85800" indent="-685800" algn="l">
              <a:buFont typeface="Arial" panose="020B0604020202020204" pitchFamily="34" charset="0"/>
              <a:buChar char="•"/>
            </a:pPr>
            <a:r>
              <a:rPr lang="en-US" sz="4800" b="1" dirty="0" smtClean="0">
                <a:solidFill>
                  <a:srgbClr val="00B0F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Healthy planet </a:t>
            </a:r>
            <a:r>
              <a:rPr lang="en-US" sz="4800" b="1" dirty="0" smtClean="0">
                <a:solidFill>
                  <a:srgbClr val="92D05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healthy people</a:t>
            </a:r>
          </a:p>
          <a:p>
            <a:pPr marL="685800" indent="-685800" algn="l">
              <a:buFont typeface="Arial" panose="020B0604020202020204" pitchFamily="34" charset="0"/>
              <a:buChar char="•"/>
            </a:pPr>
            <a:r>
              <a:rPr lang="en-US" sz="4800" b="1" dirty="0" smtClean="0">
                <a:solidFill>
                  <a:srgbClr val="00B0F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Healthy Oceans </a:t>
            </a:r>
            <a:r>
              <a:rPr lang="en-US" sz="4800" b="1" dirty="0" smtClean="0">
                <a:solidFill>
                  <a:schemeClr val="accent4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+ </a:t>
            </a:r>
            <a:r>
              <a:rPr lang="en-US" sz="4800" b="1" dirty="0" smtClean="0">
                <a:solidFill>
                  <a:srgbClr val="92D05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Rivers = Water</a:t>
            </a:r>
          </a:p>
          <a:p>
            <a:pPr marL="685800" indent="-685800" algn="l">
              <a:buFont typeface="Arial" panose="020B0604020202020204" pitchFamily="34" charset="0"/>
              <a:buChar char="•"/>
            </a:pPr>
            <a:r>
              <a:rPr lang="en-US" sz="4800" b="1" dirty="0" smtClean="0">
                <a:solidFill>
                  <a:srgbClr val="00B0F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Healthy plants </a:t>
            </a:r>
            <a:r>
              <a:rPr lang="en-US" sz="4800" b="1" dirty="0" smtClean="0">
                <a:solidFill>
                  <a:schemeClr val="accent4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+ </a:t>
            </a:r>
            <a:r>
              <a:rPr lang="en-US" sz="4800" b="1" dirty="0" smtClean="0">
                <a:solidFill>
                  <a:srgbClr val="92D05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animals = Food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90834" y="5980789"/>
            <a:ext cx="829128" cy="652329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-526179" y="3673788"/>
            <a:ext cx="10337531" cy="24351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4800" b="1" dirty="0" smtClean="0">
                <a:solidFill>
                  <a:srgbClr val="00B0F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Less illness </a:t>
            </a:r>
            <a:r>
              <a:rPr lang="en-US" sz="4800" b="1" dirty="0" smtClean="0">
                <a:solidFill>
                  <a:srgbClr val="92D050"/>
                </a:solidFill>
                <a:latin typeface="Adobe Gothic Std B" panose="020B0800000000000000" pitchFamily="34" charset="-128"/>
                <a:ea typeface="Adobe Gothic Std B" panose="020B0800000000000000" pitchFamily="34" charset="-128"/>
              </a:rPr>
              <a:t>and disease </a:t>
            </a:r>
          </a:p>
        </p:txBody>
      </p:sp>
      <p:sp>
        <p:nvSpPr>
          <p:cNvPr id="9" name="Down Arrow 8"/>
          <p:cNvSpPr/>
          <p:nvPr/>
        </p:nvSpPr>
        <p:spPr>
          <a:xfrm>
            <a:off x="2646947" y="3958562"/>
            <a:ext cx="1116531" cy="127053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489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0128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9679" y="419035"/>
            <a:ext cx="7665234" cy="600723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06602" y="3988112"/>
            <a:ext cx="3652868" cy="27121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74752" y="-739101"/>
            <a:ext cx="4461164" cy="2909598"/>
          </a:xfrm>
        </p:spPr>
        <p:txBody>
          <a:bodyPr vert="horz">
            <a:normAutofit/>
          </a:bodyPr>
          <a:lstStyle/>
          <a:p>
            <a:r>
              <a:rPr lang="en-US" sz="4800" b="1" dirty="0" smtClean="0">
                <a:latin typeface="Adobe Gothic Std B" panose="020B0800000000000000" pitchFamily="34" charset="-128"/>
                <a:ea typeface="Adobe Gothic Std B" panose="020B0800000000000000" pitchFamily="34" charset="-128"/>
              </a:rPr>
              <a:t>Perfect!</a:t>
            </a:r>
            <a:endParaRPr lang="en-US" sz="4800" b="1" dirty="0"/>
          </a:p>
        </p:txBody>
      </p:sp>
      <p:sp>
        <p:nvSpPr>
          <p:cNvPr id="3" name="Oval Callout 2"/>
          <p:cNvSpPr/>
          <p:nvPr/>
        </p:nvSpPr>
        <p:spPr>
          <a:xfrm>
            <a:off x="5977288" y="596767"/>
            <a:ext cx="4658628" cy="2406315"/>
          </a:xfrm>
          <a:prstGeom prst="wedgeEllipseCallout">
            <a:avLst>
              <a:gd name="adj1" fmla="val -69612"/>
              <a:gd name="adj2" fmla="val 67882"/>
            </a:avLst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797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4</Words>
  <Application>Microsoft Office PowerPoint</Application>
  <PresentationFormat>Widescreen</PresentationFormat>
  <Paragraphs>2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dobe Gothic Std B</vt:lpstr>
      <vt:lpstr>Arial</vt:lpstr>
      <vt:lpstr>Calibri</vt:lpstr>
      <vt:lpstr>Calibri Light</vt:lpstr>
      <vt:lpstr>Office Theme</vt:lpstr>
      <vt:lpstr>think-cell Slide</vt:lpstr>
      <vt:lpstr>What would a perfect world look like? </vt:lpstr>
      <vt:lpstr>A perfect world is the one God created.</vt:lpstr>
      <vt:lpstr>These are a few ideas I think we could do to make the world a better place..</vt:lpstr>
      <vt:lpstr>Stop Deforestation!</vt:lpstr>
      <vt:lpstr>Everybody has a home</vt:lpstr>
      <vt:lpstr>No fighting </vt:lpstr>
      <vt:lpstr>No pollution</vt:lpstr>
      <vt:lpstr>Everybody would be healthy</vt:lpstr>
      <vt:lpstr>Perfect!</vt:lpstr>
    </vt:vector>
  </TitlesOfParts>
  <Company>ENERCON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would a perfect world look like?</dc:title>
  <dc:creator>Daniel Armitage</dc:creator>
  <cp:lastModifiedBy>Daniel Armitage</cp:lastModifiedBy>
  <cp:revision>8</cp:revision>
  <dcterms:created xsi:type="dcterms:W3CDTF">2024-06-08T10:41:15Z</dcterms:created>
  <dcterms:modified xsi:type="dcterms:W3CDTF">2024-06-08T19:40:48Z</dcterms:modified>
</cp:coreProperties>
</file>